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11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12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13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7"/>
  </p:notesMasterIdLst>
  <p:handoutMasterIdLst>
    <p:handoutMasterId r:id="rId28"/>
  </p:handoutMasterIdLst>
  <p:sldIdLst>
    <p:sldId id="321" r:id="rId5"/>
    <p:sldId id="256" r:id="rId6"/>
    <p:sldId id="269" r:id="rId7"/>
    <p:sldId id="343" r:id="rId8"/>
    <p:sldId id="322" r:id="rId9"/>
    <p:sldId id="323" r:id="rId10"/>
    <p:sldId id="325" r:id="rId11"/>
    <p:sldId id="367" r:id="rId12"/>
    <p:sldId id="326" r:id="rId13"/>
    <p:sldId id="369" r:id="rId14"/>
    <p:sldId id="328" r:id="rId15"/>
    <p:sldId id="336" r:id="rId16"/>
    <p:sldId id="354" r:id="rId17"/>
    <p:sldId id="333" r:id="rId18"/>
    <p:sldId id="332" r:id="rId19"/>
    <p:sldId id="365" r:id="rId20"/>
    <p:sldId id="338" r:id="rId21"/>
    <p:sldId id="362" r:id="rId22"/>
    <p:sldId id="329" r:id="rId23"/>
    <p:sldId id="364" r:id="rId24"/>
    <p:sldId id="366" r:id="rId25"/>
    <p:sldId id="359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Vo An Khoa" initials="NVAK" lastIdx="54" clrIdx="0">
    <p:extLst>
      <p:ext uri="{19B8F6BF-5375-455C-9EA6-DF929625EA0E}">
        <p15:presenceInfo xmlns:p15="http://schemas.microsoft.com/office/powerpoint/2012/main" userId="3afd33be3519e98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5806" autoAdjust="0"/>
  </p:normalViewPr>
  <p:slideViewPr>
    <p:cSldViewPr snapToGrid="0">
      <p:cViewPr varScale="1">
        <p:scale>
          <a:sx n="80" d="100"/>
          <a:sy n="80" d="100"/>
        </p:scale>
        <p:origin x="77" y="3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02:52.536" idx="48">
    <p:pos x="6393" y="868"/>
    <p:text>with recommend_id as (SELECT 
    COUNT(course_id) AS num_enroll, course_id, category_id
FROM
    course c
        JOIN
    menteecourse m ON c.id = m.course_id
GROUP BY category_id , course_id
HAVING category_id IN (SELECT 
        category_id
    FROM
        favouritecategory
    WHERE
        mentee_id = 7)
), rating as (SELECT 
    source_id,
    AVG(rating_star) AS avg_rate,
    COUNT(rating_star) AS total_rate
FROM
    review
GROUP BY source_id)
SELECT 
    name, price, avg_rate, total_rate
FROM
    course c
        JOIN
    recommend_id r ON c.id = r.course_id
        JOIN
    rating ON c.id = rating.source_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5:44.211" idx="12">
    <p:pos x="5851" y="1037"/>
    <p:text>SELECT name from tag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04.132" idx="13">
    <p:pos x="6625" y="600"/>
    <p:text>SELECT name, summary, attempts_allowed, passing_grade, duration FROM quiz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6:13.414" idx="14">
    <p:pos x="6702" y="1675"/>
    <p:text>SELECT type FROM questiontype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50.586" idx="16">
    <p:pos x="6278" y="484"/>
    <p:text>SELECT content, asset_id, is_correct FROM answ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8:33.336" idx="21">
    <p:pos x="842" y="1065"/>
    <p:text>SELECT sum(price) as total_revenue FROM lms.menteecourse me join course c on me.course_id = c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8:41.868" idx="22">
    <p:pos x="2455" y="1080"/>
    <p:text>SELECT COUNT(*) as total_mentor FROM user where role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13.447" idx="23">
    <p:pos x="1618" y="1072"/>
    <p:text>SELECT COUNT(*) as total_mentee FROM user where role = 3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59.165" idx="24">
    <p:pos x="3323" y="1080"/>
    <p:text>SELECT
    COUNT(*) AS total_enrollment
FROM
    menteecourse
WHERE
    enroll_at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21.118" idx="25">
    <p:pos x="1272" y="1641"/>
    <p:text>SELECT
    SUM(price) AS monthly_sale
FROM
    course c
    JOIN menteecourse mc ON c.id = mc.course_id
WHERE
    MONTH(mc.enroll_at) = MONTH(CURRENT_TIMESTAMP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34.931" idx="26">
    <p:pos x="2877" y="1641"/>
    <p:text>SELECT
    SUM(price) AS weekly_sale
FROM
    course c
    JOIN menteecourse mc ON c.id = mc.course_id
WHERE
    YEARWEEK(mc.enroll_at, 1) = YEARWEEK(CURRENT_TIMESTAMP, 1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38.463" idx="28">
    <p:pos x="1441" y="2286"/>
    <p:text>WITH cte AS (
    SELECT
        DATE(online_time) AS onl_date,
        ROUND(HOUR(online_time) + MINUTE(online_time) / 60, 2) AS onl_time
    FROM
        `online`
)
SELECT
    onl_date,
    SUM(onl_time) AS total_time
FROM
    cte
GROUP BY
    onl_dat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48.291" idx="29">
    <p:pos x="3123" y="2393"/>
    <p:text>WITH 15_day_sell AS (
    SELECT
        COUNT(*) AS total_sells,
        category_id
    FROM
        course
    WHERE
        DATEDIFF(CURRENT_TIMESTAMP, created_at) &lt; 15
    GROUP BY
        category_id
),
15_day_buy AS (
    SELECT
        COUNT(course_id) AS total_buy,
        category_id
    FROM
        course c
        JOIN menteecourse m ON c.id = m.course_id
    GROUP BY
        category_id
)
SELECT
    sell.total_sells,
    buy.total_buy,
    category.name
FROM
    15_day_sell AS sell
    JOIN 15_day_buy AS buy ON sell.category_id = buy.category_id
    JOIN category ON sell.category_id = category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11.885" idx="30">
    <p:pos x="7066" y="1021"/>
    <p:text>WITH rating AS (
    SELECT
        AVG(rating_star) AS average_star,
        mentor_id
    FROM
        lms.review r
        JOIN course c ON r.source_id = c.id
    GROUP BY
        mentor_id
)
SELECT
    rating.average_star,
    c.mentor_id,
    COUNT(c.mentor_id) AS enroll_per_mentor
FROM
    course c
    JOIN menteecourse m ON c.id = m.course_id
    JOIN rating ON c.mentor_id = rating.mentor_id
GROUP BY
    c.mentor_id, rating.average_star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37.526" idx="31">
    <p:pos x="5230" y="1021"/>
    <p:text>SELECT
    COUNT(m.course_id) AS enroll_num,
    c.name,
    c.price,
    SUM(c.price) AS total_sale
FROM
    menteecourse m
    JOIN course c ON m.course_id = c.id
WHERE
    DATEDIFF(CURRENT_TIMESTAMP, m.enroll_at) &lt;= 7
GROUP BY
    c.name, c.price
LIMIT 5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08.239" idx="5">
    <p:pos x="4496" y="2330"/>
    <p:text>SELECT
    course.name AS courseName,
    course.price,
    course.description,
    category.name AS category,
    course.created_at,
    rate.avg_rate,
    rate.total_rate
FROM
    course
    JOIN category ON course.category_id = category.id
    JOIN (
        SELECT
            course_id
        FROM
            menteecourse
        GROUP BY
            course_id
        ORDER BY
            COUNT(course_id) DESC
        LIMIT 4
    ) AS trending ON course.id = trending.course_id
    JOIN (
        SELECT
            COUNT(review.rating_star) AS total_rate,
            SUM(review.rating_star) / COUNT(review.rating_star) AS avg_rate,
            course.id
        FROM
            review
            JOIN course ON review.source_id = course.id
        GROUP BY
            course.id
    ) AS rate ON course.id = rate.id
ORDER BY
    rate.avg_rate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20:43.611" idx="9">
    <p:pos x="4468" y="777"/>
    <p:text>SELECT
    course_id,
    COUNT(mentee_id) AS num_enrolled,
    course.name AS course_name,
    course.price,
    category.name AS category
FROM
    menteecourse
    JOIN course ON menteecourse.course_id = course.id
    JOIN category ON course.category_id = category.id
GROUP BY
    course_id,
    course.name,
    course.price,
    category.name
ORDER BY
    num_enrolled DESC
LIMIT 4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31.239" idx="6">
    <p:pos x="5878" y="2487"/>
    <p:text>WITH lesson_count AS (
    SELECT
        s.id,
        s.course_id,
        s.name,
        COUNT(l.id) AS lesson_per_section
    FROM
        section s
        JOIN lesson l ON s.id = l.section_id
    GROUP BY
        s.id,
        s.name
),
section_count AS (
    SELECT
        course_id,
        SUM(lesson_per_section) AS total_lesson,
        COUNT(lesson_per_section) AS total_section
    FROM
        lesson_count
    GROUP BY
        course_id
),
review_count AS (
    SELECT
        source_id,
        COUNT(source_id) AS total_review,
        AVG(rating_star) AS avg_star
    FROM
        lms.review
    GROUP BY
        source_id
)
SELECT
    c.name,
    c.price,
    u.name,
    u.asset_id,
    c.description,
    s.total_lesson,
    s.total_section,
    r.total_review,
    ROUND(r.avg_star, 1) AS avg_star
FROM
    lms.course c
    JOIN user u ON c.mentor_id = u.id
    JOIN section_count s ON c.id = s.course_id
    JOIN review_count r ON c.id = r.source_id
WHERE
    c.id = 'C1'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13:04.740" idx="49">
    <p:pos x="5460" y="834"/>
    <p:text>SELECT 
    u.name, rating_star, content, review_at
FROM
    lms.review r
        JOIN
    user u ON r.mentee_id = u.id
WHERE
    r.source_id = 'C1'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3:35:04.096" idx="54">
    <p:pos x="5352" y="2028"/>
    <p:text>with cte as (SELECT 
    id, category_id
FROM
    course
WHERE
    id = 'C1')
SELECT 
    name AS course_name, price, mentor_id
FROM
    course
        JOIN
    cte ON cte.category_id = course.category_id
        AND course.id != cte.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7:12.212" idx="7">
    <p:pos x="5129" y="2595"/>
    <p:text>SELECT
    l.id,
    l.title,
    l.transcript,
    l.summary,
    l.asset_id,
    u.name,
    d.content
FROM
    lms.lesson l
    JOIN discussion d ON l.id = d.lesson_id
    JOIN user u ON u.id = d.user_id
WHERE
    l.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17:19.819" idx="8">
    <p:pos x="6715" y="933"/>
    <p:text>SELECT
    s.name AS section_name,
    l.id,
    l.title
FROM
    lms.section s
    JOIN lesson l ON s.id = l.section_id
WHERE
    s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4:14.870" idx="32">
    <p:pos x="6190" y="717"/>
    <p:text>SELECT
    l.title,
    l.description,
    u.name,
    l.created_at
FROM
    lms.learningpath l
    JOIN user u ON l.mentor_id = u.id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5:23.058" idx="33">
    <p:pos x="2515" y="1039"/>
    <p:text>SELECT
    COUNT(*) AS total_course
FROM
    lms.menteecourse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5:33.637" idx="34">
    <p:pos x="3398" y="1038"/>
    <p:text>SELECT
    COUNT(*) AS complete_course
FROM
    menteecourse
WHERE
    mentee_id = 11
    AND cert_id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17.856" idx="35">
    <p:pos x="4358" y="1015"/>
    <p:text>SELECT
    COUNT(*) AS total_quiz
FROM
    quizresult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29.700" idx="36">
    <p:pos x="5034" y="1007"/>
    <p:text>SELECT count(*) as pass_quiz FROM quizresult where  mentee_id = 11 and result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43.888" idx="37">
    <p:pos x="3483" y="1760"/>
    <p:text>SELECT
    me.course_id,
    me.progress,
    c.name,
    CASE
        WHEN me.progress = 0 THEN 'Pending'
        WHEN me.progress &lt; 100 THEN 'Processing'
        ELSE 'Completed'
    END AS tag
FROM
    menteecourse me
    JOIN course c ON me.course_id = c.id
WHERE
    me.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13.122" idx="38">
    <p:pos x="5188" y="1752"/>
    <p:text>SELECT
    status,
    ROUND((COUNT(*) * 100.0 / total_courses), 2) AS percentage
FROM
    (
        SELECT
            CASE
                WHEN progress = 0 THEN 'Pending'
                WHEN progress &lt; 100 THEN 'Processing'
                ELSE 'Completed'
            END AS status,
            COUNT(*) OVER() AS total_courses
        FROM
            menteecourse me
            JOIN course c ON me.course_id = c.id
        WHERE
            mentee_id = 11
    ) subquery
GROUP BY
    status, total_courses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25.762" idx="39">
    <p:pos x="3805" y="2935"/>
    <p:text>SELECT
    SUM(online_time) AS total_online_time,
    MONTH(online_date) AS monthly
FROM
    lms.online
WHERE
    user_id = 7
GROUP BY
    MONTH(online_date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40.325" idx="40">
    <p:pos x="5388" y="2920"/>
    <p:text>SELECT
    s.name AS section_name,
    q.name AS quiz_name
FROM
    lms.menteecourse mc
    JOIN section s ON mc.course_id = s.course_id
    JOIN quiz q ON s.id = q.section_id
WHERE
    mc.mentee_id = 11
    AND q.id NOT IN (
        SELECT
            quiz_id
        FROM
            quizresult
        WHERE
            mentee_id = 11
            AND result = true
    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8:11.559" idx="41">
    <p:pos x="2636" y="1086"/>
    <p:text>SELECT
    SUM(price) AS revenue
FROM
    course c
    JOIN menteecourse mc ON c.id = mc.course_id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18.575" idx="42">
    <p:pos x="3864" y="1086"/>
    <p:text>SELECT
    COUNT(id) AS total_course
FROM
    course
WHERE
   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30.966" idx="43">
    <p:pos x="5024" y="1101"/>
    <p:text>SELECT
    COUNT(DISTINCT mentee_id) AS total_student
FROM
    course c
    JOIN menteecourse mc ON c.id = mc.course_id AND c.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0.903" idx="44">
    <p:pos x="3181" y="1977"/>
    <p:text>SELECT
    COUNT(u.id)
FROM
    course c
    JOIN menteecourse mc ON c.id = mc.course_id
    JOIN user u ON mc.mentee_id = u.id
WHERE
    u.is_active IS TR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7.559" idx="45">
    <p:pos x="4586" y="2007"/>
    <p:text>SELECT
    COUNT(*) AS new_enrollment
FROM
    course c
    JOIN menteecourse mc ON c.id = mc.course_id
WHERE
    DATEDIFF(CURRENT_TIMESTAMP, enroll_at) &lt; 7
   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07.434" idx="46">
    <p:pos x="2981" y="2760"/>
    <p:text>SELECT     c.name, SUM(price) AS revenue, COUNT(*) AS quantityFROM    course c        JOIN    menteecourse mc ON c.id = mc.course_idWHERE    mentor_id = 2GROUP BY c.nameORDER BY reven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21.357" idx="47">
    <p:pos x="5009" y="2699"/>
    <p:text>SELECT     rating_star, u.nameFROM    review r        JOIN    course c ON source_id = c.id AND c.mentor_id = 2        JOIN    user u ON r.mentee_id = u.idORDER BY r.review_at DESCLIMIT 5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3:51.347" idx="10">
    <p:pos x="5307" y="1673"/>
    <p:text>SELECT name FROM category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4:02.909" idx="11">
    <p:pos x="5483" y="2572"/>
    <p:text>SELECT     course_id, asset_idFROM    imagebanner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6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1278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, summary, </a:t>
            </a:r>
            <a:r>
              <a:rPr lang="en-US" dirty="0" err="1"/>
              <a:t>attempts_allowed</a:t>
            </a:r>
            <a:r>
              <a:rPr lang="en-US" dirty="0"/>
              <a:t>, </a:t>
            </a:r>
            <a:r>
              <a:rPr lang="en-US" dirty="0" err="1"/>
              <a:t>passing_grade</a:t>
            </a:r>
            <a:r>
              <a:rPr lang="en-US" dirty="0"/>
              <a:t>, duration FROM quiz;</a:t>
            </a:r>
          </a:p>
          <a:p>
            <a:r>
              <a:rPr lang="en-US" dirty="0"/>
              <a:t>SELECT type FROM </a:t>
            </a:r>
            <a:r>
              <a:rPr lang="en-US" dirty="0" err="1"/>
              <a:t>questiontype</a:t>
            </a:r>
            <a:r>
              <a:rPr lang="en-US" dirty="0"/>
              <a:t>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6265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ntent, </a:t>
            </a:r>
            <a:r>
              <a:rPr lang="en-US" dirty="0" err="1"/>
              <a:t>asset_id</a:t>
            </a:r>
            <a:r>
              <a:rPr lang="en-US" dirty="0"/>
              <a:t>, </a:t>
            </a:r>
            <a:r>
              <a:rPr lang="en-US" dirty="0" err="1"/>
              <a:t>is_correct</a:t>
            </a:r>
            <a:r>
              <a:rPr lang="en-US" dirty="0"/>
              <a:t> FROM answer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4750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sum(price) as </a:t>
            </a:r>
            <a:r>
              <a:rPr lang="en-US" dirty="0" err="1"/>
              <a:t>total_revenu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memtor</a:t>
            </a:r>
            <a:r>
              <a:rPr lang="en-US" dirty="0"/>
              <a:t> FROM user where role = 2;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COUNT(*) as </a:t>
            </a:r>
            <a:r>
              <a:rPr lang="en-US" dirty="0" err="1"/>
              <a:t>total_memtee</a:t>
            </a:r>
            <a:r>
              <a:rPr lang="en-US" dirty="0"/>
              <a:t> FROM user where role = 3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total_enrollmentFROM</a:t>
            </a:r>
            <a:r>
              <a:rPr lang="en-US" dirty="0"/>
              <a:t>    </a:t>
            </a:r>
            <a:r>
              <a:rPr lang="en-US" dirty="0" err="1"/>
              <a:t>menteecourseWHERE</a:t>
            </a:r>
            <a:r>
              <a:rPr lang="en-US" dirty="0"/>
              <a:t>    </a:t>
            </a:r>
            <a:r>
              <a:rPr lang="en-US" dirty="0" err="1"/>
              <a:t>enroll_at</a:t>
            </a:r>
            <a:r>
              <a:rPr lang="en-US" dirty="0"/>
              <a:t> IS NOT NULL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month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MONTH(</a:t>
            </a:r>
            <a:r>
              <a:rPr lang="en-US" dirty="0" err="1"/>
              <a:t>mc.enroll_at</a:t>
            </a:r>
            <a:r>
              <a:rPr lang="en-US" dirty="0"/>
              <a:t>) = MONTH(CURRENT_TIMESTAMP)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weeek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WEEK(</a:t>
            </a:r>
            <a:r>
              <a:rPr lang="en-US" dirty="0" err="1"/>
              <a:t>mc.enroll_at</a:t>
            </a:r>
            <a:r>
              <a:rPr lang="en-US" dirty="0"/>
              <a:t>) = WEEK(CURRENT_TIMESTAMP);</a:t>
            </a:r>
          </a:p>
          <a:p>
            <a:r>
              <a:rPr lang="en-US" dirty="0"/>
              <a:t>with </a:t>
            </a:r>
            <a:r>
              <a:rPr lang="en-US" dirty="0" err="1"/>
              <a:t>cte</a:t>
            </a:r>
            <a:r>
              <a:rPr lang="en-US" dirty="0"/>
              <a:t> as (SELECT     DATE(</a:t>
            </a:r>
            <a:r>
              <a:rPr lang="en-US" dirty="0" err="1"/>
              <a:t>online_time</a:t>
            </a:r>
            <a:r>
              <a:rPr lang="en-US" dirty="0"/>
              <a:t>) AS </a:t>
            </a:r>
            <a:r>
              <a:rPr lang="en-US" dirty="0" err="1"/>
              <a:t>onl_date</a:t>
            </a:r>
            <a:r>
              <a:rPr lang="en-US" dirty="0"/>
              <a:t>,    ROUND(HOUR(</a:t>
            </a:r>
            <a:r>
              <a:rPr lang="en-US" dirty="0" err="1"/>
              <a:t>online_time</a:t>
            </a:r>
            <a:r>
              <a:rPr lang="en-US" dirty="0"/>
              <a:t>) + MINUTE(</a:t>
            </a:r>
            <a:r>
              <a:rPr lang="en-US" dirty="0" err="1"/>
              <a:t>online_time</a:t>
            </a:r>
            <a:r>
              <a:rPr lang="en-US" dirty="0"/>
              <a:t>) / 60,            2) AS </a:t>
            </a:r>
            <a:r>
              <a:rPr lang="en-US" dirty="0" err="1"/>
              <a:t>onl_timeFROM</a:t>
            </a:r>
            <a:r>
              <a:rPr lang="en-US" dirty="0"/>
              <a:t>    `online`)SELECT     </a:t>
            </a:r>
            <a:r>
              <a:rPr lang="en-US" dirty="0" err="1"/>
              <a:t>onl_date</a:t>
            </a:r>
            <a:r>
              <a:rPr lang="en-US" dirty="0"/>
              <a:t>, SUM(</a:t>
            </a:r>
            <a:r>
              <a:rPr lang="en-US" dirty="0" err="1"/>
              <a:t>onl_time</a:t>
            </a:r>
            <a:r>
              <a:rPr lang="en-US" dirty="0"/>
              <a:t>) AS </a:t>
            </a:r>
            <a:r>
              <a:rPr lang="en-US" dirty="0" err="1"/>
              <a:t>total_timeFROM</a:t>
            </a:r>
            <a:r>
              <a:rPr lang="en-US" dirty="0"/>
              <a:t>    </a:t>
            </a:r>
            <a:r>
              <a:rPr lang="en-US" dirty="0" err="1"/>
              <a:t>cteGROUP</a:t>
            </a:r>
            <a:r>
              <a:rPr lang="en-US" dirty="0"/>
              <a:t> BY </a:t>
            </a:r>
            <a:r>
              <a:rPr lang="en-US" dirty="0" err="1"/>
              <a:t>onl_date</a:t>
            </a:r>
            <a:r>
              <a:rPr lang="en-US" dirty="0"/>
              <a:t>;</a:t>
            </a:r>
          </a:p>
          <a:p>
            <a:r>
              <a:rPr lang="en-US" dirty="0"/>
              <a:t>with 15_day_sell as (SELECT     COUNT(*) AS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DATEDIFF(</a:t>
            </a:r>
            <a:r>
              <a:rPr lang="en-US" dirty="0" err="1"/>
              <a:t>created_at</a:t>
            </a:r>
            <a:r>
              <a:rPr lang="en-US" dirty="0"/>
              <a:t>, CURRENT_TIMESTAMP) &lt; 15GROUP BY </a:t>
            </a:r>
            <a:r>
              <a:rPr lang="en-US" dirty="0" err="1"/>
              <a:t>category_id</a:t>
            </a:r>
            <a:r>
              <a:rPr lang="en-US" dirty="0"/>
              <a:t>),15_day_buy as (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)SELECT    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.nameFROM</a:t>
            </a:r>
            <a:r>
              <a:rPr lang="en-US" dirty="0"/>
              <a:t>    15_day_sell AS sell        JOIN    15_day_buy AS buy ON </a:t>
            </a:r>
            <a:r>
              <a:rPr lang="en-US" dirty="0" err="1"/>
              <a:t>sell.category_id</a:t>
            </a:r>
            <a:r>
              <a:rPr lang="en-US" dirty="0"/>
              <a:t> = </a:t>
            </a:r>
            <a:r>
              <a:rPr lang="en-US" dirty="0" err="1"/>
              <a:t>buy.category_id</a:t>
            </a:r>
            <a:r>
              <a:rPr lang="en-US" dirty="0"/>
              <a:t>        JOIN    category ON </a:t>
            </a:r>
            <a:r>
              <a:rPr lang="en-US" dirty="0" err="1"/>
              <a:t>sell.category_id</a:t>
            </a:r>
            <a:r>
              <a:rPr lang="en-US" dirty="0"/>
              <a:t> = category.id;</a:t>
            </a:r>
          </a:p>
          <a:p>
            <a:r>
              <a:rPr lang="en-US" dirty="0"/>
              <a:t>with rating as (SELECT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mentor_id</a:t>
            </a:r>
            <a:r>
              <a:rPr lang="en-US" dirty="0"/>
              <a:t> FROM </a:t>
            </a:r>
            <a:r>
              <a:rPr lang="en-US" dirty="0" err="1"/>
              <a:t>lms.review</a:t>
            </a:r>
            <a:r>
              <a:rPr lang="en-US" dirty="0"/>
              <a:t> r join course c on </a:t>
            </a:r>
            <a:r>
              <a:rPr lang="en-US" dirty="0" err="1"/>
              <a:t>r.source_id</a:t>
            </a:r>
            <a:r>
              <a:rPr lang="en-US" dirty="0"/>
              <a:t> = </a:t>
            </a:r>
            <a:r>
              <a:rPr lang="en-US" dirty="0" err="1"/>
              <a:t>c.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)select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c.mentor_id</a:t>
            </a:r>
            <a:r>
              <a:rPr lang="en-US" dirty="0"/>
              <a:t>, count(</a:t>
            </a:r>
            <a:r>
              <a:rPr lang="en-US" dirty="0" err="1"/>
              <a:t>c.mentor_id</a:t>
            </a:r>
            <a:r>
              <a:rPr lang="en-US" dirty="0"/>
              <a:t>) as </a:t>
            </a:r>
            <a:r>
              <a:rPr lang="en-US" dirty="0" err="1"/>
              <a:t>enroll_per_mentor</a:t>
            </a:r>
            <a:r>
              <a:rPr lang="en-US" dirty="0"/>
              <a:t> from course c join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join</a:t>
            </a:r>
            <a:r>
              <a:rPr lang="en-US" dirty="0"/>
              <a:t> rating on </a:t>
            </a:r>
            <a:r>
              <a:rPr lang="en-US" dirty="0" err="1"/>
              <a:t>c.mentor_id</a:t>
            </a:r>
            <a:r>
              <a:rPr lang="en-US" dirty="0"/>
              <a:t> = </a:t>
            </a:r>
            <a:r>
              <a:rPr lang="en-US" dirty="0" err="1"/>
              <a:t>rating.mentor_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;</a:t>
            </a:r>
          </a:p>
          <a:p>
            <a:r>
              <a:rPr lang="en-US" dirty="0"/>
              <a:t>select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enroll_num</a:t>
            </a:r>
            <a:r>
              <a:rPr lang="en-US" dirty="0"/>
              <a:t>, c.name, </a:t>
            </a:r>
            <a:r>
              <a:rPr lang="en-US" dirty="0" err="1"/>
              <a:t>c.price</a:t>
            </a:r>
            <a:r>
              <a:rPr lang="en-US" dirty="0"/>
              <a:t>, sum(</a:t>
            </a:r>
            <a:r>
              <a:rPr lang="en-US" dirty="0" err="1"/>
              <a:t>c.price</a:t>
            </a:r>
            <a:r>
              <a:rPr lang="en-US" dirty="0"/>
              <a:t>) as </a:t>
            </a:r>
            <a:r>
              <a:rPr lang="en-US" dirty="0" err="1"/>
              <a:t>total_sal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m join course c on </a:t>
            </a:r>
            <a:r>
              <a:rPr lang="en-US" dirty="0" err="1"/>
              <a:t>m.course_id</a:t>
            </a:r>
            <a:r>
              <a:rPr lang="en-US" dirty="0"/>
              <a:t> = c.id where </a:t>
            </a:r>
            <a:r>
              <a:rPr lang="en-US" dirty="0" err="1"/>
              <a:t>datediff</a:t>
            </a:r>
            <a:r>
              <a:rPr lang="en-US" dirty="0"/>
              <a:t>(</a:t>
            </a:r>
            <a:r>
              <a:rPr lang="en-US" dirty="0" err="1"/>
              <a:t>m.enroll_at</a:t>
            </a:r>
            <a:r>
              <a:rPr lang="en-US" dirty="0"/>
              <a:t>, </a:t>
            </a:r>
            <a:r>
              <a:rPr lang="en-US" dirty="0" err="1"/>
              <a:t>current_timestamp</a:t>
            </a:r>
            <a:r>
              <a:rPr lang="en-US" dirty="0"/>
              <a:t>) &lt;=7group by c.name, </a:t>
            </a:r>
            <a:r>
              <a:rPr lang="en-US" dirty="0" err="1"/>
              <a:t>c.price</a:t>
            </a:r>
            <a:r>
              <a:rPr lang="en-US" dirty="0"/>
              <a:t> 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4218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2948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530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6985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r Course: SELECT     </a:t>
            </a:r>
            <a:r>
              <a:rPr lang="en-US" dirty="0" err="1"/>
              <a:t>course_id</a:t>
            </a:r>
            <a:r>
              <a:rPr lang="en-US" dirty="0"/>
              <a:t>,    COUNT(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num_enrolled</a:t>
            </a:r>
            <a:r>
              <a:rPr lang="en-US" dirty="0"/>
              <a:t>,    course.name AS </a:t>
            </a:r>
            <a:r>
              <a:rPr lang="en-US" dirty="0" err="1"/>
              <a:t>course_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category.name AS </a:t>
            </a:r>
            <a:r>
              <a:rPr lang="en-US" dirty="0" err="1"/>
              <a:t>categoryFROM</a:t>
            </a:r>
            <a:r>
              <a:rPr lang="en-US" dirty="0"/>
              <a:t>    </a:t>
            </a:r>
            <a:r>
              <a:rPr lang="en-US" dirty="0" err="1"/>
              <a:t>menteecourse</a:t>
            </a:r>
            <a:r>
              <a:rPr lang="en-US" dirty="0"/>
              <a:t>        JOIN    course ON </a:t>
            </a:r>
            <a:r>
              <a:rPr lang="en-US" dirty="0" err="1"/>
              <a:t>menteecourse.course_id</a:t>
            </a:r>
            <a:r>
              <a:rPr lang="en-US" dirty="0"/>
              <a:t> = course.id        JOIN    category ON </a:t>
            </a:r>
            <a:r>
              <a:rPr lang="en-US" dirty="0" err="1"/>
              <a:t>course.category_id</a:t>
            </a:r>
            <a:r>
              <a:rPr lang="en-US" dirty="0"/>
              <a:t> = </a:t>
            </a:r>
            <a:r>
              <a:rPr lang="en-US" dirty="0" err="1"/>
              <a:t>category.idGROUP</a:t>
            </a:r>
            <a:r>
              <a:rPr lang="en-US" dirty="0"/>
              <a:t> BY </a:t>
            </a:r>
            <a:r>
              <a:rPr lang="en-US" dirty="0" err="1"/>
              <a:t>course_idORDER</a:t>
            </a:r>
            <a:r>
              <a:rPr lang="en-US" dirty="0"/>
              <a:t> BY </a:t>
            </a:r>
            <a:r>
              <a:rPr lang="en-US" dirty="0" err="1"/>
              <a:t>num_enrolled</a:t>
            </a:r>
            <a:r>
              <a:rPr lang="en-US" dirty="0"/>
              <a:t> DESC LIMIT 4;</a:t>
            </a:r>
          </a:p>
          <a:p>
            <a:r>
              <a:rPr lang="en-US" dirty="0"/>
              <a:t>Trending Course: SELECT     course.name AS </a:t>
            </a:r>
            <a:r>
              <a:rPr lang="en-US" dirty="0" err="1"/>
              <a:t>course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</a:t>
            </a:r>
            <a:r>
              <a:rPr lang="en-US" dirty="0" err="1"/>
              <a:t>course.description</a:t>
            </a:r>
            <a:r>
              <a:rPr lang="en-US" dirty="0"/>
              <a:t>,    category.name AS category,    </a:t>
            </a:r>
            <a:r>
              <a:rPr lang="en-US" dirty="0" err="1"/>
              <a:t>course.created_at</a:t>
            </a:r>
            <a:r>
              <a:rPr lang="en-US" dirty="0"/>
              <a:t>,    </a:t>
            </a:r>
            <a:r>
              <a:rPr lang="en-US" dirty="0" err="1"/>
              <a:t>rate.avg_rate</a:t>
            </a:r>
            <a:r>
              <a:rPr lang="en-US" dirty="0"/>
              <a:t>,    </a:t>
            </a:r>
            <a:r>
              <a:rPr lang="en-US" dirty="0" err="1"/>
              <a:t>rate.total_rateFROM</a:t>
            </a:r>
            <a:r>
              <a:rPr lang="en-US" dirty="0"/>
              <a:t>    course        JOIN    category ON </a:t>
            </a:r>
            <a:r>
              <a:rPr lang="en-US" dirty="0" err="1"/>
              <a:t>course.category_id</a:t>
            </a:r>
            <a:r>
              <a:rPr lang="en-US" dirty="0"/>
              <a:t> = category.id        JOIN    (SELECT         </a:t>
            </a:r>
            <a:r>
              <a:rPr lang="en-US" dirty="0" err="1"/>
              <a:t>course_id</a:t>
            </a:r>
            <a:r>
              <a:rPr lang="en-US" dirty="0"/>
              <a:t>    FROM        </a:t>
            </a:r>
            <a:r>
              <a:rPr lang="en-US" dirty="0" err="1"/>
              <a:t>menteecourse</a:t>
            </a:r>
            <a:r>
              <a:rPr lang="en-US" dirty="0"/>
              <a:t>    GROUP BY </a:t>
            </a:r>
            <a:r>
              <a:rPr lang="en-US" dirty="0" err="1"/>
              <a:t>course_id</a:t>
            </a:r>
            <a:r>
              <a:rPr lang="en-US" dirty="0"/>
              <a:t>    ORDER BY COUNT(</a:t>
            </a:r>
            <a:r>
              <a:rPr lang="en-US" dirty="0" err="1"/>
              <a:t>course_id</a:t>
            </a:r>
            <a:r>
              <a:rPr lang="en-US" dirty="0"/>
              <a:t>) DESC    LIMIT 4) AS trending ON course.id = </a:t>
            </a:r>
            <a:r>
              <a:rPr lang="en-US" dirty="0" err="1"/>
              <a:t>trending.course_id</a:t>
            </a:r>
            <a:r>
              <a:rPr lang="en-US" dirty="0"/>
              <a:t>        JOIN    (SELECT        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total_rate</a:t>
            </a:r>
            <a:r>
              <a:rPr lang="en-US" dirty="0"/>
              <a:t>,            SUM(</a:t>
            </a:r>
            <a:r>
              <a:rPr lang="en-US" dirty="0" err="1"/>
              <a:t>review.rating_star</a:t>
            </a:r>
            <a:r>
              <a:rPr lang="en-US" dirty="0"/>
              <a:t>) /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avg_rate</a:t>
            </a:r>
            <a:r>
              <a:rPr lang="en-US" dirty="0"/>
              <a:t>,            course.id    FROM        review    JOIN course ON </a:t>
            </a:r>
            <a:r>
              <a:rPr lang="en-US" dirty="0" err="1"/>
              <a:t>review.source_id</a:t>
            </a:r>
            <a:r>
              <a:rPr lang="en-US" dirty="0"/>
              <a:t> = course.id    GROUP BY course.id) AS rate ON course.id = </a:t>
            </a:r>
            <a:r>
              <a:rPr lang="en-US" dirty="0" err="1"/>
              <a:t>rate.idORDER</a:t>
            </a:r>
            <a:r>
              <a:rPr lang="en-US" dirty="0"/>
              <a:t> BY </a:t>
            </a:r>
            <a:r>
              <a:rPr lang="en-US" dirty="0" err="1"/>
              <a:t>rate.avg_rate</a:t>
            </a:r>
            <a:r>
              <a:rPr lang="en-US" dirty="0"/>
              <a:t> DESC;</a:t>
            </a:r>
          </a:p>
          <a:p>
            <a:r>
              <a:rPr lang="en-US" dirty="0"/>
              <a:t>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num_enroll</a:t>
            </a:r>
            <a:r>
              <a:rPr lang="en-US" dirty="0"/>
              <a:t>,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 , </a:t>
            </a:r>
            <a:r>
              <a:rPr lang="en-US" dirty="0" err="1"/>
              <a:t>course_idHAVING</a:t>
            </a:r>
            <a:r>
              <a:rPr lang="en-US" dirty="0"/>
              <a:t> </a:t>
            </a:r>
            <a:r>
              <a:rPr lang="en-US" dirty="0" err="1"/>
              <a:t>category_id</a:t>
            </a:r>
            <a:r>
              <a:rPr lang="en-US" dirty="0"/>
              <a:t> IN (SELECT         </a:t>
            </a:r>
            <a:r>
              <a:rPr lang="en-US" dirty="0" err="1"/>
              <a:t>category_id</a:t>
            </a:r>
            <a:r>
              <a:rPr lang="en-US" dirty="0"/>
              <a:t>    FROM        </a:t>
            </a:r>
            <a:r>
              <a:rPr lang="en-US" dirty="0" err="1"/>
              <a:t>favouritecategory</a:t>
            </a:r>
            <a:r>
              <a:rPr lang="en-US" dirty="0"/>
              <a:t>    WHERE        </a:t>
            </a:r>
            <a:r>
              <a:rPr lang="en-US" dirty="0" err="1"/>
              <a:t>mentee_id</a:t>
            </a:r>
            <a:r>
              <a:rPr lang="en-US" dirty="0"/>
              <a:t> = 7)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636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rse Details: WITH </a:t>
            </a:r>
            <a:r>
              <a:rPr lang="en-US" dirty="0" err="1"/>
              <a:t>lesson_count</a:t>
            </a:r>
            <a:r>
              <a:rPr lang="en-US" dirty="0"/>
              <a:t> as (SELECT     s.id, </a:t>
            </a:r>
            <a:r>
              <a:rPr lang="en-US" dirty="0" err="1"/>
              <a:t>s.course_id</a:t>
            </a:r>
            <a:r>
              <a:rPr lang="en-US" dirty="0"/>
              <a:t>, s.name, COUNT(l.id) AS </a:t>
            </a:r>
            <a:r>
              <a:rPr lang="en-US" dirty="0" err="1"/>
              <a:t>lesson_per_sectionFROM</a:t>
            </a:r>
            <a:r>
              <a:rPr lang="en-US" dirty="0"/>
              <a:t>    section s        JOIN    lesson l ON s.id = </a:t>
            </a:r>
            <a:r>
              <a:rPr lang="en-US" dirty="0" err="1"/>
              <a:t>l.section_idGROUP</a:t>
            </a:r>
            <a:r>
              <a:rPr lang="en-US" dirty="0"/>
              <a:t> BY s.id , s.name),</a:t>
            </a:r>
            <a:r>
              <a:rPr lang="en-US" dirty="0" err="1"/>
              <a:t>section_count</a:t>
            </a:r>
            <a:r>
              <a:rPr lang="en-US" dirty="0"/>
              <a:t> as (SELECT     </a:t>
            </a:r>
            <a:r>
              <a:rPr lang="en-US" dirty="0" err="1"/>
              <a:t>course_id</a:t>
            </a:r>
            <a:r>
              <a:rPr lang="en-US" dirty="0"/>
              <a:t>,    SUM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lesson</a:t>
            </a:r>
            <a:r>
              <a:rPr lang="en-US" dirty="0"/>
              <a:t>,    COUNT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sectionFROM</a:t>
            </a:r>
            <a:r>
              <a:rPr lang="en-US" dirty="0"/>
              <a:t>    </a:t>
            </a:r>
            <a:r>
              <a:rPr lang="en-US" dirty="0" err="1"/>
              <a:t>lesson_countGROUP</a:t>
            </a:r>
            <a:r>
              <a:rPr lang="en-US" dirty="0"/>
              <a:t> BY </a:t>
            </a:r>
            <a:r>
              <a:rPr lang="en-US" dirty="0" err="1"/>
              <a:t>course_id</a:t>
            </a:r>
            <a:r>
              <a:rPr lang="en-US" dirty="0"/>
              <a:t>),</a:t>
            </a:r>
            <a:r>
              <a:rPr lang="en-US" dirty="0" err="1"/>
              <a:t>review_count</a:t>
            </a:r>
            <a:r>
              <a:rPr lang="en-US" dirty="0"/>
              <a:t> as (SELECT     </a:t>
            </a:r>
            <a:r>
              <a:rPr lang="en-US" dirty="0" err="1"/>
              <a:t>source_id</a:t>
            </a:r>
            <a:r>
              <a:rPr lang="en-US" dirty="0"/>
              <a:t>,    COUNT(</a:t>
            </a:r>
            <a:r>
              <a:rPr lang="en-US" dirty="0" err="1"/>
              <a:t>source_id</a:t>
            </a:r>
            <a:r>
              <a:rPr lang="en-US" dirty="0"/>
              <a:t>) AS </a:t>
            </a:r>
            <a:r>
              <a:rPr lang="en-US" dirty="0" err="1"/>
              <a:t>total_review</a:t>
            </a:r>
            <a:r>
              <a:rPr lang="en-US" dirty="0"/>
              <a:t>,   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reviewGROUP</a:t>
            </a:r>
            <a:r>
              <a:rPr lang="en-US" dirty="0"/>
              <a:t> BY </a:t>
            </a:r>
            <a:r>
              <a:rPr lang="en-US" dirty="0" err="1"/>
              <a:t>source_id</a:t>
            </a:r>
            <a:r>
              <a:rPr lang="en-US" dirty="0"/>
              <a:t>)SELECT     c.name,    </a:t>
            </a:r>
            <a:r>
              <a:rPr lang="en-US" dirty="0" err="1"/>
              <a:t>c.price</a:t>
            </a:r>
            <a:r>
              <a:rPr lang="en-US" dirty="0"/>
              <a:t>,    u.name,    </a:t>
            </a:r>
            <a:r>
              <a:rPr lang="en-US" dirty="0" err="1"/>
              <a:t>u.asset_id</a:t>
            </a:r>
            <a:r>
              <a:rPr lang="en-US" dirty="0"/>
              <a:t>,    </a:t>
            </a:r>
            <a:r>
              <a:rPr lang="en-US" dirty="0" err="1"/>
              <a:t>c.description</a:t>
            </a:r>
            <a:r>
              <a:rPr lang="en-US" dirty="0"/>
              <a:t>,    </a:t>
            </a:r>
            <a:r>
              <a:rPr lang="en-US" dirty="0" err="1"/>
              <a:t>s.total_lesson</a:t>
            </a:r>
            <a:r>
              <a:rPr lang="en-US" dirty="0"/>
              <a:t>,    </a:t>
            </a:r>
            <a:r>
              <a:rPr lang="en-US" dirty="0" err="1"/>
              <a:t>s.total_section</a:t>
            </a:r>
            <a:r>
              <a:rPr lang="en-US" dirty="0"/>
              <a:t>,    </a:t>
            </a:r>
            <a:r>
              <a:rPr lang="en-US" dirty="0" err="1"/>
              <a:t>r.total_review</a:t>
            </a:r>
            <a:r>
              <a:rPr lang="en-US" dirty="0"/>
              <a:t>,    round(</a:t>
            </a:r>
            <a:r>
              <a:rPr lang="en-US" dirty="0" err="1"/>
              <a:t>r.avg_star</a:t>
            </a:r>
            <a:r>
              <a:rPr lang="en-US" dirty="0"/>
              <a:t>, 1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course</a:t>
            </a:r>
            <a:r>
              <a:rPr lang="en-US" dirty="0"/>
              <a:t> c        JOIN    user u ON </a:t>
            </a:r>
            <a:r>
              <a:rPr lang="en-US" dirty="0" err="1"/>
              <a:t>c.mentor_id</a:t>
            </a:r>
            <a:r>
              <a:rPr lang="en-US" dirty="0"/>
              <a:t> = u.id        JOIN    </a:t>
            </a:r>
            <a:r>
              <a:rPr lang="en-US" dirty="0" err="1"/>
              <a:t>section_count</a:t>
            </a:r>
            <a:r>
              <a:rPr lang="en-US" dirty="0"/>
              <a:t> s ON c.id = </a:t>
            </a:r>
            <a:r>
              <a:rPr lang="en-US" dirty="0" err="1"/>
              <a:t>s.course_id</a:t>
            </a:r>
            <a:r>
              <a:rPr lang="en-US" dirty="0"/>
              <a:t>        JOIN     </a:t>
            </a:r>
            <a:r>
              <a:rPr lang="en-US" dirty="0" err="1"/>
              <a:t>review_count</a:t>
            </a:r>
            <a:r>
              <a:rPr lang="en-US" dirty="0"/>
              <a:t> r on c.id = </a:t>
            </a:r>
            <a:r>
              <a:rPr lang="en-US" dirty="0" err="1"/>
              <a:t>r.source_id</a:t>
            </a:r>
            <a:r>
              <a:rPr lang="en-US" dirty="0"/>
              <a:t>    WHERE c.id = 'C1'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4900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l.id,    title,    transcript,    summary,    </a:t>
            </a:r>
            <a:r>
              <a:rPr lang="en-US" dirty="0" err="1"/>
              <a:t>l.asset_id</a:t>
            </a:r>
            <a:r>
              <a:rPr lang="en-US" dirty="0"/>
              <a:t>,    u.name,    </a:t>
            </a:r>
            <a:r>
              <a:rPr lang="en-US" dirty="0" err="1"/>
              <a:t>d.contentFROM</a:t>
            </a:r>
            <a:r>
              <a:rPr lang="en-US" dirty="0"/>
              <a:t>    </a:t>
            </a:r>
            <a:r>
              <a:rPr lang="en-US" dirty="0" err="1"/>
              <a:t>lms.lesson</a:t>
            </a:r>
            <a:r>
              <a:rPr lang="en-US" dirty="0"/>
              <a:t> l        JOIN    discussion d ON l.id = </a:t>
            </a:r>
            <a:r>
              <a:rPr lang="en-US" dirty="0" err="1"/>
              <a:t>d.lesson_id</a:t>
            </a:r>
            <a:r>
              <a:rPr lang="en-US" dirty="0"/>
              <a:t>        JOIN    user u ON u.id = </a:t>
            </a:r>
            <a:r>
              <a:rPr lang="en-US" dirty="0" err="1"/>
              <a:t>d.user_idWHERE</a:t>
            </a:r>
            <a:r>
              <a:rPr lang="en-US" dirty="0"/>
              <a:t>    l.id = 2;</a:t>
            </a:r>
          </a:p>
          <a:p>
            <a:r>
              <a:rPr lang="en-US" dirty="0"/>
              <a:t>SELECT     name AS </a:t>
            </a:r>
            <a:r>
              <a:rPr lang="en-US" dirty="0" err="1"/>
              <a:t>section_name</a:t>
            </a:r>
            <a:r>
              <a:rPr lang="en-US" dirty="0"/>
              <a:t>, l.id, </a:t>
            </a:r>
            <a:r>
              <a:rPr lang="en-US" dirty="0" err="1"/>
              <a:t>titleFROM</a:t>
            </a:r>
            <a:r>
              <a:rPr lang="en-US" dirty="0"/>
              <a:t>    </a:t>
            </a:r>
            <a:r>
              <a:rPr lang="en-US" dirty="0" err="1"/>
              <a:t>lms.section</a:t>
            </a:r>
            <a:r>
              <a:rPr lang="en-US" dirty="0"/>
              <a:t> s        JOIN    lesson l ON s.id = </a:t>
            </a:r>
            <a:r>
              <a:rPr lang="en-US" dirty="0" err="1"/>
              <a:t>l.section_idWHERE</a:t>
            </a:r>
            <a:r>
              <a:rPr lang="en-US" dirty="0"/>
              <a:t>    s.id = 1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2776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title, description , u.name, </a:t>
            </a:r>
            <a:r>
              <a:rPr lang="en-US" dirty="0" err="1"/>
              <a:t>l.created_at</a:t>
            </a:r>
            <a:r>
              <a:rPr lang="en-US" dirty="0"/>
              <a:t>  FROM </a:t>
            </a:r>
            <a:r>
              <a:rPr lang="en-US" dirty="0" err="1"/>
              <a:t>lms.learningpath</a:t>
            </a:r>
            <a:r>
              <a:rPr lang="en-US" dirty="0"/>
              <a:t> l join user u on </a:t>
            </a:r>
            <a:r>
              <a:rPr lang="en-US" dirty="0" err="1"/>
              <a:t>l.mentor_id</a:t>
            </a:r>
            <a:r>
              <a:rPr lang="en-US" dirty="0"/>
              <a:t> = u.id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937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unt(*) as </a:t>
            </a:r>
            <a:r>
              <a:rPr lang="en-US" dirty="0" err="1"/>
              <a:t>total_cours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complete_cours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</a:t>
            </a:r>
            <a:r>
              <a:rPr lang="en-US" dirty="0" err="1"/>
              <a:t>cert_id</a:t>
            </a:r>
            <a:r>
              <a:rPr lang="en-US" dirty="0"/>
              <a:t> is not null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pass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result = 1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    progress,     name,     CASE         WHEN progress = 0 THEN 'Pending'        WHEN progress &lt; 100 THEN 'Processing'         ELSE 'Completed'     END AS tag FROM </a:t>
            </a:r>
            <a:r>
              <a:rPr lang="en-US" dirty="0" err="1"/>
              <a:t>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   status,    ROUND((COUNT(*) * 100.0 / </a:t>
            </a:r>
            <a:r>
              <a:rPr lang="en-US" dirty="0" err="1"/>
              <a:t>total_courses</a:t>
            </a:r>
            <a:r>
              <a:rPr lang="en-US" dirty="0"/>
              <a:t>), 2) AS </a:t>
            </a:r>
            <a:r>
              <a:rPr lang="en-US" dirty="0" err="1"/>
              <a:t>percentageFROM</a:t>
            </a:r>
            <a:r>
              <a:rPr lang="en-US" dirty="0"/>
              <a:t> (    SELECT        CASE             WHEN progress = 0 THEN 'Pending'            WHEN progress &lt; 100 THEN 'Processing'             ELSE 'Completed'         END AS status,        COUNT(*) OVER() AS </a:t>
            </a:r>
            <a:r>
              <a:rPr lang="en-US" dirty="0" err="1"/>
              <a:t>total_courses</a:t>
            </a:r>
            <a:r>
              <a:rPr lang="en-US" dirty="0"/>
              <a:t>    FROM </a:t>
            </a:r>
            <a:r>
              <a:rPr lang="en-US" dirty="0" err="1"/>
              <a:t>menteecourse</a:t>
            </a:r>
            <a:r>
              <a:rPr lang="en-US" dirty="0"/>
              <a:t> me    JOIN course c ON </a:t>
            </a:r>
            <a:r>
              <a:rPr lang="en-US" dirty="0" err="1"/>
              <a:t>me.course_id</a:t>
            </a:r>
            <a:r>
              <a:rPr lang="en-US" dirty="0"/>
              <a:t> = c.id    WHERE </a:t>
            </a:r>
            <a:r>
              <a:rPr lang="en-US" dirty="0" err="1"/>
              <a:t>mentee_id</a:t>
            </a:r>
            <a:r>
              <a:rPr lang="en-US" dirty="0"/>
              <a:t> = 11) </a:t>
            </a:r>
            <a:r>
              <a:rPr lang="en-US" dirty="0" err="1"/>
              <a:t>subqueryGROUP</a:t>
            </a:r>
            <a:r>
              <a:rPr lang="en-US" dirty="0"/>
              <a:t> BY status, </a:t>
            </a:r>
            <a:r>
              <a:rPr lang="en-US" dirty="0" err="1"/>
              <a:t>total_courses</a:t>
            </a:r>
            <a:r>
              <a:rPr lang="en-US" dirty="0"/>
              <a:t>;</a:t>
            </a:r>
          </a:p>
          <a:p>
            <a:r>
              <a:rPr lang="en-US" dirty="0"/>
              <a:t>SELECT sum(</a:t>
            </a:r>
            <a:r>
              <a:rPr lang="en-US" dirty="0" err="1"/>
              <a:t>online_time</a:t>
            </a:r>
            <a:r>
              <a:rPr lang="en-US" dirty="0"/>
              <a:t>), month(</a:t>
            </a:r>
            <a:r>
              <a:rPr lang="en-US" dirty="0" err="1"/>
              <a:t>online_date</a:t>
            </a:r>
            <a:r>
              <a:rPr lang="en-US" dirty="0"/>
              <a:t>) as monthly FROM </a:t>
            </a:r>
            <a:r>
              <a:rPr lang="en-US" dirty="0" err="1"/>
              <a:t>lms.online</a:t>
            </a:r>
            <a:r>
              <a:rPr lang="en-US" dirty="0"/>
              <a:t> where </a:t>
            </a:r>
            <a:r>
              <a:rPr lang="en-US" dirty="0" err="1"/>
              <a:t>user_id</a:t>
            </a:r>
            <a:r>
              <a:rPr lang="en-US" dirty="0"/>
              <a:t> = 7 group by month(</a:t>
            </a:r>
            <a:r>
              <a:rPr lang="en-US" dirty="0" err="1"/>
              <a:t>online_date</a:t>
            </a:r>
            <a:r>
              <a:rPr lang="en-US" dirty="0"/>
              <a:t>);</a:t>
            </a:r>
          </a:p>
          <a:p>
            <a:r>
              <a:rPr lang="en-US" dirty="0"/>
              <a:t>SELECT s.name as </a:t>
            </a:r>
            <a:r>
              <a:rPr lang="en-US" dirty="0" err="1"/>
              <a:t>section_name</a:t>
            </a:r>
            <a:r>
              <a:rPr lang="en-US" dirty="0"/>
              <a:t>, q.name as </a:t>
            </a:r>
            <a:r>
              <a:rPr lang="en-US" dirty="0" err="1"/>
              <a:t>quiz_nam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c join section s on </a:t>
            </a:r>
            <a:r>
              <a:rPr lang="en-US" dirty="0" err="1"/>
              <a:t>mc.course_id</a:t>
            </a:r>
            <a:r>
              <a:rPr lang="en-US" dirty="0"/>
              <a:t> = </a:t>
            </a:r>
            <a:r>
              <a:rPr lang="en-US" dirty="0" err="1"/>
              <a:t>s.course_id</a:t>
            </a:r>
            <a:r>
              <a:rPr lang="en-US" dirty="0"/>
              <a:t> join quiz q on s.id = </a:t>
            </a:r>
            <a:r>
              <a:rPr lang="en-US" dirty="0" err="1"/>
              <a:t>q.section_id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q.id not in (SELECT </a:t>
            </a:r>
            <a:r>
              <a:rPr lang="en-US" dirty="0" err="1"/>
              <a:t>quiz_id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result is true)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9775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SUM(price) AS </a:t>
            </a:r>
            <a:r>
              <a:rPr lang="en-US" dirty="0" err="1"/>
              <a:t>revenu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id) </a:t>
            </a:r>
            <a:r>
              <a:rPr lang="en-US" dirty="0" err="1"/>
              <a:t>total_course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distinct 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total_stud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u.id)FROM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       JOIN    user u ON </a:t>
            </a:r>
            <a:r>
              <a:rPr lang="en-US" dirty="0" err="1"/>
              <a:t>mc.mentee_id</a:t>
            </a:r>
            <a:r>
              <a:rPr lang="en-US" dirty="0"/>
              <a:t> = </a:t>
            </a:r>
            <a:r>
              <a:rPr lang="en-US" dirty="0" err="1"/>
              <a:t>u.idWHERE</a:t>
            </a:r>
            <a:r>
              <a:rPr lang="en-US" dirty="0"/>
              <a:t>    </a:t>
            </a:r>
            <a:r>
              <a:rPr lang="en-US" dirty="0" err="1"/>
              <a:t>u.is_active</a:t>
            </a:r>
            <a:r>
              <a:rPr lang="en-US" dirty="0"/>
              <a:t> IS TRUE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new_enrollm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DATEDIFF(CURRENT_TIMESTAMP, </a:t>
            </a:r>
            <a:r>
              <a:rPr lang="en-US" dirty="0" err="1"/>
              <a:t>enroll_at</a:t>
            </a:r>
            <a:r>
              <a:rPr lang="en-US" dirty="0"/>
              <a:t>) &lt; 7       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.name, SUM(price) AS revenue, COUNT(*) AS </a:t>
            </a:r>
            <a:r>
              <a:rPr lang="en-US" dirty="0" err="1"/>
              <a:t>quantity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GROUP BY </a:t>
            </a:r>
            <a:r>
              <a:rPr lang="en-US" dirty="0" err="1"/>
              <a:t>c.nameORDER</a:t>
            </a:r>
            <a:r>
              <a:rPr lang="en-US" dirty="0"/>
              <a:t> BY revenue;</a:t>
            </a:r>
          </a:p>
          <a:p>
            <a:r>
              <a:rPr lang="en-US" dirty="0"/>
              <a:t>SELECT     </a:t>
            </a:r>
            <a:r>
              <a:rPr lang="en-US" dirty="0" err="1"/>
              <a:t>rating_star</a:t>
            </a:r>
            <a:r>
              <a:rPr lang="en-US" dirty="0"/>
              <a:t>, </a:t>
            </a:r>
            <a:r>
              <a:rPr lang="en-US" dirty="0" err="1"/>
              <a:t>u.nameFROM</a:t>
            </a:r>
            <a:r>
              <a:rPr lang="en-US" dirty="0"/>
              <a:t>    review r        JOIN    course c ON </a:t>
            </a:r>
            <a:r>
              <a:rPr lang="en-US" dirty="0" err="1"/>
              <a:t>source_id</a:t>
            </a:r>
            <a:r>
              <a:rPr lang="en-US" dirty="0"/>
              <a:t> = c.id AND </a:t>
            </a:r>
            <a:r>
              <a:rPr lang="en-US" dirty="0" err="1"/>
              <a:t>c.mentor_id</a:t>
            </a:r>
            <a:r>
              <a:rPr lang="en-US" dirty="0"/>
              <a:t> = 2        JOIN    user u ON </a:t>
            </a:r>
            <a:r>
              <a:rPr lang="en-US" dirty="0" err="1"/>
              <a:t>r.mentee_id</a:t>
            </a:r>
            <a:r>
              <a:rPr lang="en-US" dirty="0"/>
              <a:t> = </a:t>
            </a:r>
            <a:r>
              <a:rPr lang="en-US" dirty="0" err="1"/>
              <a:t>u.idORDER</a:t>
            </a:r>
            <a:r>
              <a:rPr lang="en-US" dirty="0"/>
              <a:t> BY </a:t>
            </a:r>
            <a:r>
              <a:rPr lang="en-US" dirty="0" err="1"/>
              <a:t>r.review_at</a:t>
            </a:r>
            <a:r>
              <a:rPr lang="en-US" dirty="0"/>
              <a:t> DESC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0058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 from tag;</a:t>
            </a:r>
          </a:p>
          <a:p>
            <a:r>
              <a:rPr lang="en-US" dirty="0"/>
              <a:t>SELECT name FROM category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asset_idFROM</a:t>
            </a:r>
            <a:r>
              <a:rPr lang="en-US" dirty="0"/>
              <a:t>    </a:t>
            </a:r>
            <a:r>
              <a:rPr lang="en-US" dirty="0" err="1"/>
              <a:t>imageban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5571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78A19-538B-0615-BD21-B3941BFC8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E611F8-D5F2-4108-1297-FDA43E4CB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E407B-A51C-3FF5-ED18-DEE16730A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6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E46F-EB4C-8F35-E6BD-B3167DAA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3255B-BB8F-BE2A-3DEF-2995AF98E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764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32CE-0AD5-8B0E-C2F6-E20EBBCB1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03529-0F1C-5C5E-0070-40825FA19E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D51BF9-5965-1B7E-B852-E949B18E4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6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2EE7E-A840-5D6F-30C7-1DB80BC03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8739A-E717-6F40-B55B-282AB0DE9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8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5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9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0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1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2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3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3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4DA68-C035-9EB1-8C02-F0E5AADDF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59D27C9-621F-643C-C71E-E1B1113617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0151" y="1419225"/>
            <a:ext cx="6763151" cy="411797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9AF06C2-B0ED-A58C-EF0B-E27AD995E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83" y="1042654"/>
            <a:ext cx="5048955" cy="477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12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A6447-821D-1475-22DB-4F5FE4A39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and discuss</a:t>
            </a:r>
            <a:br>
              <a:rPr lang="en-US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29B5134-4472-1922-91FB-873ECC785B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14880" y="1217131"/>
            <a:ext cx="6989660" cy="526654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E74E9F-8D16-7237-89B8-75CB8381BC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27781"/>
            <a:ext cx="5048955" cy="6230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585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3C098-62FC-091C-7F65-AF771750C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Learning path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F9E8C44-21BA-991E-E227-9E6B477ACD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290" y="1393996"/>
            <a:ext cx="6601958" cy="4456322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C717D1-C30F-CA76-E948-2488CFB8B7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52" y="1169127"/>
            <a:ext cx="5934903" cy="490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91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B6F40-0D57-7C67-358C-AB2F96B4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Dashboard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417AEA2-C412-8E96-7095-49E715390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574" y="855542"/>
            <a:ext cx="5797146" cy="5881688"/>
          </a:xfrm>
        </p:spPr>
      </p:pic>
    </p:spTree>
    <p:extLst>
      <p:ext uri="{BB962C8B-B14F-4D97-AF65-F5344CB8AC3E}">
        <p14:creationId xmlns:p14="http://schemas.microsoft.com/office/powerpoint/2010/main" val="178925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9EF8C-3BA5-F681-89B2-08880F3B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D2C392A-61E4-B2E9-5930-8D8872FBBA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065" y="687567"/>
            <a:ext cx="6920112" cy="6170433"/>
          </a:xfrm>
        </p:spPr>
      </p:pic>
    </p:spTree>
    <p:extLst>
      <p:ext uri="{BB962C8B-B14F-4D97-AF65-F5344CB8AC3E}">
        <p14:creationId xmlns:p14="http://schemas.microsoft.com/office/powerpoint/2010/main" val="1632285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76C33-E886-A2E4-6DFF-343B9E250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547F5D1-B399-837B-9657-44631DEBAF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758" y="1364044"/>
            <a:ext cx="6325242" cy="4304680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93D4BE-98BE-7160-23D6-333D29C474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093" y="865935"/>
            <a:ext cx="5001323" cy="559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11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5B8A-A77C-EEF0-E79C-50AED37AF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7A19735-CCFF-CD44-DA1E-643180D924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942" y="1768524"/>
            <a:ext cx="6093677" cy="3639279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4FAB47-6128-5D60-E387-926AB13E66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619" y="792185"/>
            <a:ext cx="5001323" cy="559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0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7CC0B-3B62-8292-C225-6D37F9EAE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  <a:br>
              <a:rPr lang="en-US" dirty="0"/>
            </a:b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C2F8819-7953-113F-2120-63C5838276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199519" y="976312"/>
            <a:ext cx="5195025" cy="490537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35F04BD-4058-BCEA-BEBB-AE10F033F0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3055" y="753946"/>
            <a:ext cx="5039428" cy="595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39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4F4EE-7EA5-4A72-33C9-21D801066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7F7748D7-3C83-AACC-FE3E-29A9CF38AF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53122" y="877441"/>
            <a:ext cx="4385742" cy="59805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9B4C72A-62B1-E9AC-5D18-C67728D580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9462" y="947436"/>
            <a:ext cx="4086795" cy="560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31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65812-B5FA-5A8F-3961-0AD86F962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218671-B29B-9E5A-71A2-130540DF92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083" y="1901368"/>
            <a:ext cx="5876917" cy="3877132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1274402-59F8-98ED-4CAE-CF4D0082CD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0" y="873125"/>
            <a:ext cx="6262326" cy="4905375"/>
          </a:xfrm>
        </p:spPr>
      </p:pic>
    </p:spTree>
    <p:extLst>
      <p:ext uri="{BB962C8B-B14F-4D97-AF65-F5344CB8AC3E}">
        <p14:creationId xmlns:p14="http://schemas.microsoft.com/office/powerpoint/2010/main" val="62287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E592E-ED8B-C61D-7491-A81D925D0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360" y="4404360"/>
            <a:ext cx="10774680" cy="70865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M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B5DA4E-A873-6EE3-B960-F4E27656A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040" y="5204460"/>
            <a:ext cx="9585960" cy="555540"/>
          </a:xfrm>
        </p:spPr>
        <p:txBody>
          <a:bodyPr/>
          <a:lstStyle/>
          <a:p>
            <a:pPr algn="l"/>
            <a:r>
              <a:rPr lang="en-GB" dirty="0"/>
              <a:t>Khoa Nguyen</a:t>
            </a:r>
          </a:p>
        </p:txBody>
      </p:sp>
      <p:pic>
        <p:nvPicPr>
          <p:cNvPr id="4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A94261E5-A4C9-67D9-3770-DA6219473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>
          <a:xfrm>
            <a:off x="0" y="1098000"/>
            <a:ext cx="12192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493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0C3F-EB2B-ECDB-D5CC-FEFA24EAC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5131" y="0"/>
            <a:ext cx="5536867" cy="6858000"/>
          </a:xfrm>
        </p:spPr>
        <p:txBody>
          <a:bodyPr/>
          <a:lstStyle/>
          <a:p>
            <a:r>
              <a:rPr lang="en-US" dirty="0"/>
              <a:t>Question and Answ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753232-AD24-041F-489E-4E68A5187B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1564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48E77-68B3-4540-C68F-78A27013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063" y="0"/>
            <a:ext cx="5950935" cy="6858000"/>
          </a:xfrm>
        </p:spPr>
        <p:txBody>
          <a:bodyPr/>
          <a:lstStyle/>
          <a:p>
            <a:r>
              <a:rPr lang="en-US" dirty="0"/>
              <a:t>Thanks for watch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045AA-120A-3CCF-4CC8-6B5F7E37E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973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6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AEEFD-4793-0F8C-EB13-E710D9D3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87A6C-9322-5702-C2EF-9B3AACC8A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ind map</a:t>
            </a:r>
          </a:p>
          <a:p>
            <a:r>
              <a:rPr lang="en-US" dirty="0"/>
              <a:t>Use Case Diagram</a:t>
            </a:r>
          </a:p>
          <a:p>
            <a:r>
              <a:rPr lang="en-US" dirty="0"/>
              <a:t>UX UI Design / Database</a:t>
            </a:r>
          </a:p>
          <a:p>
            <a:r>
              <a:rPr lang="en-US" dirty="0"/>
              <a:t>Q&amp;A</a:t>
            </a:r>
          </a:p>
          <a:p>
            <a:endParaRPr lang="en-US" dirty="0"/>
          </a:p>
        </p:txBody>
      </p:sp>
      <p:pic>
        <p:nvPicPr>
          <p:cNvPr id="7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D5F91C04-B75B-0D6B-83A6-B5DB257489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>
          <a:xfrm>
            <a:off x="6096000" y="1121294"/>
            <a:ext cx="6096000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147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9D90E-67C3-46B6-1990-20FB9BC05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Hub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FDF28FD-365E-F026-A160-6A2CB56AD3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7005" y="1835855"/>
            <a:ext cx="11437989" cy="3752145"/>
          </a:xfrm>
        </p:spPr>
      </p:pic>
    </p:spTree>
    <p:extLst>
      <p:ext uri="{BB962C8B-B14F-4D97-AF65-F5344CB8AC3E}">
        <p14:creationId xmlns:p14="http://schemas.microsoft.com/office/powerpoint/2010/main" val="1498535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296E7-5C80-6626-390A-F03CB78EE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M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F1F8B6E-5EE9-677D-CC5A-4915ED81C5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1" y="1894883"/>
            <a:ext cx="11932837" cy="3289593"/>
          </a:xfrm>
        </p:spPr>
      </p:pic>
    </p:spTree>
    <p:extLst>
      <p:ext uri="{BB962C8B-B14F-4D97-AF65-F5344CB8AC3E}">
        <p14:creationId xmlns:p14="http://schemas.microsoft.com/office/powerpoint/2010/main" val="279740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F73BE-FC53-4B2A-8B4C-7001B78B3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A169F4F-41B7-4DAE-A6AE-9E3D9F2519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379" y="264160"/>
            <a:ext cx="5472691" cy="6329680"/>
          </a:xfrm>
        </p:spPr>
      </p:pic>
    </p:spTree>
    <p:extLst>
      <p:ext uri="{BB962C8B-B14F-4D97-AF65-F5344CB8AC3E}">
        <p14:creationId xmlns:p14="http://schemas.microsoft.com/office/powerpoint/2010/main" val="2025640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95739-83EF-2A7C-AC71-D9D614FC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0"/>
            <a:ext cx="4414320" cy="1098000"/>
          </a:xfrm>
        </p:spPr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D3A610-C6FE-2390-F651-D6F46F20E8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11520" y="1504584"/>
            <a:ext cx="6248400" cy="4387497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707F796-5CF6-970C-02A2-7F3DBD535B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000" y="826407"/>
            <a:ext cx="5220429" cy="595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25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E0A96-67CE-B92A-FFB0-996CE175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1BC78C1-817D-8A7C-6A06-69508E4EE8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48528" y="1391427"/>
            <a:ext cx="6295252" cy="45623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6AC4A9-F384-AF85-3A13-6DB26872F0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143" y="822958"/>
            <a:ext cx="5220429" cy="595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333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F039C-FBB8-9019-3773-EF17BE99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00C5F339-042E-5A1C-C200-D961E8A6C7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57" y="1098000"/>
            <a:ext cx="5837801" cy="490537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0387A5-F730-53F4-B467-65AC530147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301" y="1230684"/>
            <a:ext cx="5048955" cy="477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4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680405e6-b67e-4188-afe9-1f6c4cc802d0"/>
    <ds:schemaRef ds:uri="http://purl.org/dc/elements/1.1/"/>
    <ds:schemaRef ds:uri="http://purl.org/dc/dcmitype/"/>
    <ds:schemaRef ds:uri="http://purl.org/dc/terms/"/>
    <ds:schemaRef ds:uri="5a0a5fd8-e554-4dec-ae9e-1a78583e7e41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3545</TotalTime>
  <Words>1934</Words>
  <Application>Microsoft Office PowerPoint</Application>
  <PresentationFormat>Widescreen</PresentationFormat>
  <Paragraphs>79</Paragraphs>
  <Slides>2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bv template EN</vt:lpstr>
      <vt:lpstr>think-cell Slide</vt:lpstr>
      <vt:lpstr>PowerPoint Presentation</vt:lpstr>
      <vt:lpstr>LMS System</vt:lpstr>
      <vt:lpstr>Agenda</vt:lpstr>
      <vt:lpstr>Mentor Hub</vt:lpstr>
      <vt:lpstr>LMS</vt:lpstr>
      <vt:lpstr>Use Case</vt:lpstr>
      <vt:lpstr>Mentee - Course Listing</vt:lpstr>
      <vt:lpstr>Mentee - Course Listing</vt:lpstr>
      <vt:lpstr>Mentee - Course Details </vt:lpstr>
      <vt:lpstr>Mentee - Course Details </vt:lpstr>
      <vt:lpstr>Study and discuss </vt:lpstr>
      <vt:lpstr>Mentee - Learning path </vt:lpstr>
      <vt:lpstr>Mentee - Dashboard</vt:lpstr>
      <vt:lpstr>Mentor - dashboard </vt:lpstr>
      <vt:lpstr>Mentor create course </vt:lpstr>
      <vt:lpstr>Mentor create course </vt:lpstr>
      <vt:lpstr>Mentor – create section quiz </vt:lpstr>
      <vt:lpstr>Mentor – create section quiz</vt:lpstr>
      <vt:lpstr>Admin - dashboard </vt:lpstr>
      <vt:lpstr>Question and Answer</vt:lpstr>
      <vt:lpstr>Thanks for watch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Nguyen Vo An Khoa</cp:lastModifiedBy>
  <cp:revision>76</cp:revision>
  <dcterms:created xsi:type="dcterms:W3CDTF">2023-03-02T06:20:39Z</dcterms:created>
  <dcterms:modified xsi:type="dcterms:W3CDTF">2024-06-26T16:3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